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215062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8</TotalTime>
  <Words>45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8</cp:revision>
  <dcterms:created xsi:type="dcterms:W3CDTF">2021-03-31T02:49:57Z</dcterms:created>
  <dcterms:modified xsi:type="dcterms:W3CDTF">2025-10-15T02:47:51Z</dcterms:modified>
  <cp:category/>
</cp:coreProperties>
</file>